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0" r:id="rId3"/>
  </p:sldMasterIdLst>
  <p:notesMasterIdLst>
    <p:notesMasterId r:id="rId25"/>
  </p:notesMasterIdLst>
  <p:sldIdLst>
    <p:sldId id="259" r:id="rId4"/>
    <p:sldId id="2145706629" r:id="rId5"/>
    <p:sldId id="2145706753" r:id="rId6"/>
    <p:sldId id="2145706630" r:id="rId7"/>
    <p:sldId id="2145706638" r:id="rId8"/>
    <p:sldId id="2145706632" r:id="rId9"/>
    <p:sldId id="2145706635" r:id="rId10"/>
    <p:sldId id="2145706636" r:id="rId11"/>
    <p:sldId id="2145706637" r:id="rId12"/>
    <p:sldId id="2145706639" r:id="rId13"/>
    <p:sldId id="2145706640" r:id="rId14"/>
    <p:sldId id="2145706641" r:id="rId15"/>
    <p:sldId id="264" r:id="rId16"/>
    <p:sldId id="2145706797" r:id="rId17"/>
    <p:sldId id="2145706798" r:id="rId18"/>
    <p:sldId id="2145706625" r:id="rId19"/>
    <p:sldId id="287" r:id="rId20"/>
    <p:sldId id="266" r:id="rId21"/>
    <p:sldId id="279" r:id="rId22"/>
    <p:sldId id="282" r:id="rId23"/>
    <p:sldId id="256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A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8C1CCB-E01E-464D-9EE1-7DA4C2651331}" v="1296" dt="2022-07-28T17:20:44.8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91" y="1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Satisfaction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9</c:v>
                </c:pt>
                <c:pt idx="1">
                  <c:v>1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38-4D79-86DC-927E56C42B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1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38-4D79-86DC-927E56C42B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4</c:v>
                </c:pt>
                <c:pt idx="1">
                  <c:v>2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38-4D79-86DC-927E56C42B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ase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Use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6</c:v>
                </c:pt>
                <c:pt idx="1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2-4FF2-B6AC-2C7B8646BF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.5</c:v>
                </c:pt>
                <c:pt idx="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2-4FF2-B6AC-2C7B8646BF9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.28</c:v>
                </c:pt>
                <c:pt idx="1">
                  <c:v>3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C2-4FF2-B6AC-2C7B8646BF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ffectiveness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8</c:v>
                </c:pt>
                <c:pt idx="1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48-47BF-A4A2-AE9D382F6F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48-47BF-A4A2-AE9D382F6F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48-47BF-A4A2-AE9D382F6F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104-4C34-8472-37ABBB96735D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104-4C34-8472-37ABBB9673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E8A-4C04-96EF-B304D4D60D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olia Syringe</c:v>
                </c:pt>
                <c:pt idx="1">
                  <c:v>Reclast Bottle, Infusion</c:v>
                </c:pt>
                <c:pt idx="2">
                  <c:v>Zometa Vial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7</c:v>
                </c:pt>
                <c:pt idx="1">
                  <c:v>357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04-4C34-8472-37ABBB9673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Non-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5E3-4458-AD99-D0B735464185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5E3-4458-AD99-D0B73546418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5E3-4458-AD99-D0B7354641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ltevia</c:v>
                </c:pt>
                <c:pt idx="1">
                  <c:v>Actonel 35 mg Tablet</c:v>
                </c:pt>
                <c:pt idx="2">
                  <c:v>Actonel Tablet Osteoporosis Agen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5</c:v>
                </c:pt>
                <c:pt idx="1">
                  <c:v>11</c:v>
                </c:pt>
                <c:pt idx="2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5E3-4458-AD99-D0B735464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F057B-168E-4D7D-9AEE-AC2099D7CF13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272891-151C-422F-9047-A8E5C7B507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8159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039F-097C-4C65-BBDF-9208D2887D8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5911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2320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5538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6886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0742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sentences</a:t>
            </a:r>
            <a:r>
              <a:rPr lang="de-DE"/>
              <a:t>, </a:t>
            </a:r>
            <a:r>
              <a:rPr lang="de-DE" err="1"/>
              <a:t>distinct</a:t>
            </a:r>
            <a:r>
              <a:rPr lang="de-DE"/>
              <a:t> </a:t>
            </a:r>
            <a:r>
              <a:rPr lang="de-DE" err="1"/>
              <a:t>color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2111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plit </a:t>
            </a:r>
            <a:r>
              <a:rPr lang="de-DE" err="1"/>
              <a:t>up</a:t>
            </a:r>
            <a:r>
              <a:rPr lang="de-DE"/>
              <a:t> </a:t>
            </a:r>
            <a:r>
              <a:rPr lang="de-DE" err="1"/>
              <a:t>info</a:t>
            </a:r>
            <a:r>
              <a:rPr lang="de-DE"/>
              <a:t>, </a:t>
            </a:r>
            <a:r>
              <a:rPr lang="de-DE" err="1"/>
              <a:t>direct</a:t>
            </a:r>
            <a:r>
              <a:rPr lang="de-DE"/>
              <a:t> </a:t>
            </a:r>
            <a:r>
              <a:rPr lang="de-DE" err="1"/>
              <a:t>attentio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2636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055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574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678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083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786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030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379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6758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FD06D-7FB2-4AA9-B282-B01E6C5516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328169-26A7-E04F-97AC-A3B6A3A34C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5FEE23-B980-D0E0-5BCD-146A2D29C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265DA-AB14-3DC7-11AF-936DA60A1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89F612-DDE6-21C3-A9C5-6CFAE2D4D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560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92F0C-0473-2F3A-14F0-A67C7EA0A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F84561-4E21-BC8E-DA01-FEAB1F8DFC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574943-D249-C804-DD5D-5A1B43453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E3B20-1292-FE35-40C7-E1852C349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B435E-A978-00FB-1C30-09140A4F9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446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5FC425-5096-3ADD-AABA-CD5EE134F0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F1C759-1CE0-93C1-E0F8-34E367503D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C4F3D-3917-CFF0-EFC1-F75A63FC9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D9E9A9-360F-2447-EA9A-0E349E91C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9CAE57-F940-BEDA-A6AE-FE4E3CDF8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3063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955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8" y="-864"/>
            <a:ext cx="12198453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de-DE"/>
              <a:t>Ort, TT.MM.JJJJ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5" y="1124743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902965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S Picture">
            <a:extLst>
              <a:ext uri="{FF2B5EF4-FFF2-40B4-BE49-F238E27FC236}">
                <a16:creationId xmlns:a16="http://schemas.microsoft.com/office/drawing/2014/main" id="{8BBCE0C9-B05F-4352-8BA6-E65112EF93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940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1"/>
            <a:ext cx="4591652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5418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158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1" y="-4764"/>
            <a:ext cx="12181200" cy="6862763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4" indent="0">
              <a:buNone/>
              <a:defRPr/>
            </a:lvl2pPr>
            <a:lvl3pPr marL="406405" indent="0">
              <a:buNone/>
              <a:defRPr/>
            </a:lvl3pPr>
            <a:lvl4pPr marL="630245" indent="0">
              <a:buNone/>
              <a:defRPr/>
            </a:lvl4pPr>
            <a:lvl5pPr marL="863611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3" y="-30479"/>
            <a:ext cx="12191998" cy="687600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S Body text Placeholder"/>
          <p:cNvSpPr>
            <a:spLocks noGrp="1"/>
          </p:cNvSpPr>
          <p:nvPr>
            <p:ph idx="1"/>
          </p:nvPr>
        </p:nvSpPr>
        <p:spPr>
          <a:xfrm>
            <a:off x="550803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</p:spTree>
    <p:extLst>
      <p:ext uri="{BB962C8B-B14F-4D97-AF65-F5344CB8AC3E}">
        <p14:creationId xmlns:p14="http://schemas.microsoft.com/office/powerpoint/2010/main" val="41749461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4483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471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C9DA-880F-ED88-C1EA-3930E3CB2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75C36-FE46-6A1F-2760-EB7C4D6591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48F7DA-E177-37F4-421A-83A483743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63853E-8AA9-CAAC-EA22-BE5FA654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A43EAE-C900-DE0E-57BD-39F317C37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350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S Worldwide">
            <a:extLst>
              <a:ext uri="{FF2B5EF4-FFF2-40B4-BE49-F238E27FC236}">
                <a16:creationId xmlns:a16="http://schemas.microsoft.com/office/drawing/2014/main" id="{E7AAAD39-EBEE-44FB-B151-0D92D5040958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 b="3750"/>
          <a:stretch/>
        </p:blipFill>
        <p:spPr>
          <a:xfrm>
            <a:off x="0" y="-1"/>
            <a:ext cx="12192000" cy="6876000"/>
          </a:xfrm>
          <a:prstGeom prst="rect">
            <a:avLst/>
          </a:pr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27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5E120A-47E6-49E9-830B-46E8296FA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2557" t="34037" r="59204" b="62939"/>
          <a:stretch/>
        </p:blipFill>
        <p:spPr>
          <a:xfrm>
            <a:off x="3651160" y="2424825"/>
            <a:ext cx="1036951" cy="206061"/>
          </a:xfrm>
          <a:prstGeom prst="rect">
            <a:avLst/>
          </a:prstGeom>
        </p:spPr>
      </p:pic>
      <p:pic>
        <p:nvPicPr>
          <p:cNvPr id="14" name="CS Logo">
            <a:extLst>
              <a:ext uri="{FF2B5EF4-FFF2-40B4-BE49-F238E27FC236}">
                <a16:creationId xmlns:a16="http://schemas.microsoft.com/office/drawing/2014/main" id="{C5BB9984-3422-4A77-8CC9-FB239C5972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54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768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9" y="-864"/>
            <a:ext cx="12198454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Location, MM/DD/YYYY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4" y="1124743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 noProof="0"/>
              <a:t>Click to insert action title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12662726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S Picture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4364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4302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09006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0" y="-4763"/>
            <a:ext cx="12181200" cy="6602114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2" indent="0">
              <a:buNone/>
              <a:defRPr/>
            </a:lvl2pPr>
            <a:lvl3pPr marL="406400" indent="0">
              <a:buNone/>
              <a:defRPr/>
            </a:lvl3pPr>
            <a:lvl4pPr marL="630237" indent="0">
              <a:buNone/>
              <a:defRPr/>
            </a:lvl4pPr>
            <a:lvl5pPr marL="863600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>
          <a:xfrm>
            <a:off x="550801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537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5443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84685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Worldwid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" y="0"/>
            <a:ext cx="12191442" cy="6597347"/>
          </a:xfrm>
          <a:custGeom>
            <a:avLst/>
            <a:gdLst/>
            <a:ahLst/>
            <a:cxnLst/>
            <a:rect l="l" t="t" r="r" b="b"/>
            <a:pathLst>
              <a:path w="12191999" h="6597351">
                <a:moveTo>
                  <a:pt x="0" y="0"/>
                </a:moveTo>
                <a:lnTo>
                  <a:pt x="10488613" y="0"/>
                </a:lnTo>
                <a:lnTo>
                  <a:pt x="10488613" y="1143000"/>
                </a:ln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close/>
              </a:path>
            </a:pathLst>
          </a:cu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en-US" noProof="0"/>
              <a:t>Thank you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insert text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-27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03789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Background">
            <a:extLst>
              <a:ext uri="{FF2B5EF4-FFF2-40B4-BE49-F238E27FC236}">
                <a16:creationId xmlns:a16="http://schemas.microsoft.com/office/drawing/2014/main" id="{08CF2BE9-8994-4B3D-B2F6-9D4B1E5139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39701"/>
            <a:ext cx="12192000" cy="5196840"/>
          </a:xfrm>
          <a:prstGeom prst="rect">
            <a:avLst/>
          </a:prstGeom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/>
          <a:p>
            <a:r>
              <a:rPr lang="en-US"/>
              <a:t>Click to insert action title</a:t>
            </a:r>
            <a:endParaRPr lang="de-DE"/>
          </a:p>
        </p:txBody>
      </p:sp>
      <p:sp>
        <p:nvSpPr>
          <p:cNvPr id="13" name="CSVersion"/>
          <p:cNvSpPr/>
          <p:nvPr userDrawn="1"/>
        </p:nvSpPr>
        <p:spPr>
          <a:xfrm>
            <a:off x="5409696" y="4245694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rgbClr val="FFFFFF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3819687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14D4-C82E-FE81-EB8E-BB9EA8B23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8744A2-3F04-50B2-7DBB-414A786500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F190A-4089-9071-BD9C-93CDFFAB5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B8FC4B-B87A-35C2-1EF6-939A36EC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248D1-3F22-26BC-807D-926C510C1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998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0FE72-7F68-6519-2161-EEF74F212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E2CF2A-5650-3BC1-08A0-43A5B158D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F52C4-E0FF-9B1F-637F-9794B20AA7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C8BBDC-FDAF-84FD-9415-269FFFFC6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5EA29C-A674-A96D-FC42-ED1B51C2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38766-BC4E-EB55-A6C5-D64A39E1E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049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1BDB-9734-363B-B771-3357BF6CB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7E03D-4FA7-EA03-183D-F233CBCE66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7B1E3A-36B8-AFE3-73B4-9D72C41A1A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4DCD83-29A6-1F98-748F-A9B379F05D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8D76EB-FE07-76A6-42AE-A2ACCD820D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2E05B-0AE7-F6C9-E257-67D14B8C5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CE838C-DF8D-D982-E167-31E177D1D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DE8D59-A29B-A5E7-7A3F-7EC261E72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112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61890-C2FB-FEEF-859C-EB6008015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79DCEB-D334-E5FD-FC53-D095C81FF1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75C07D-356B-30E1-4AFA-3E170F98D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3E9810-307F-63C5-A0D1-680AA279C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3831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B8691-FC2B-84F5-8B59-68917A347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21F98C-AB0D-9C8B-7A2B-66D88D394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CE60C2-12EF-842C-E949-82CD86DE7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635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07DB9-773A-4EEF-FB4B-244B1C76A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DC1E63-F6DA-C877-4282-7241BF921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815BA-462F-79CE-5CC3-745E1A7162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249813-D163-CE51-4A61-2C9C87CE06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EE1AC8-AE64-F000-A849-259AEA085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D7DE33-9EC9-3FC1-E331-68F67E490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709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481BC-5402-588F-50B2-D43467FC6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0D0408-8CFC-B050-4848-6AD9B72F76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BB456-F1A3-B0FC-65EC-D7F9CAB90A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A6F8E2-2352-2070-C9A1-A232132B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E2EE12-5500-3AFF-9426-34C9FB20D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4F114C-921A-9CED-8878-1AF300D80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195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C38531-CADC-3F0D-ACD2-DF123A484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B7DA78-C251-0796-4A44-DC43BA0251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606BE-CCA0-2A16-A728-9C9D09D5B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C5F44-EDCB-2AF6-9BDF-AFFC78AEE7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177917-B874-F85F-7C20-07741B1140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092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1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S Slide no."/>
          <p:cNvSpPr txBox="1"/>
          <p:nvPr userDrawn="1"/>
        </p:nvSpPr>
        <p:spPr>
          <a:xfrm>
            <a:off x="205242" y="6505200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426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hf hdr="0" dt="0"/>
  <p:txStyles>
    <p:titleStyle>
      <a:lvl1pPr algn="l" defTabSz="914411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6" indent="-182566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5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4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8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39" indent="-212728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7">
          <p15:clr>
            <a:srgbClr val="F26B43"/>
          </p15:clr>
        </p15:guide>
        <p15:guide id="2" pos="9892">
          <p15:clr>
            <a:srgbClr val="F26B43"/>
          </p15:clr>
        </p15:guide>
        <p15:guide id="3" orient="horz" pos="628">
          <p15:clr>
            <a:srgbClr val="F26B43"/>
          </p15:clr>
        </p15:guide>
        <p15:guide id="4" orient="horz" pos="2197">
          <p15:clr>
            <a:srgbClr val="F26B43"/>
          </p15:clr>
        </p15:guide>
        <p15:guide id="5" pos="130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0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S Slide no.">
            <a:extLst>
              <a:ext uri="{FF2B5EF4-FFF2-40B4-BE49-F238E27FC236}">
                <a16:creationId xmlns:a16="http://schemas.microsoft.com/office/drawing/2014/main" id="{F13A66FE-793A-4D2F-B8D6-BBEFE3DF05A2}"/>
              </a:ext>
            </a:extLst>
          </p:cNvPr>
          <p:cNvSpPr txBox="1"/>
          <p:nvPr userDrawn="1"/>
        </p:nvSpPr>
        <p:spPr>
          <a:xfrm>
            <a:off x="11327265" y="6437959"/>
            <a:ext cx="451411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497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0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75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12725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5564">
          <p15:clr>
            <a:srgbClr val="F26B43"/>
          </p15:clr>
        </p15:guide>
        <p15:guide id="3" orient="horz" pos="1117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6.xml"/><Relationship Id="rId7" Type="http://schemas.openxmlformats.org/officeDocument/2006/relationships/image" Target="../media/image28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26219" y="3946477"/>
            <a:ext cx="5976360" cy="1214663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7A94"/>
                </a:solidFill>
                <a:latin typeface="Segoe UI"/>
                <a:cs typeface="Segoe UI"/>
              </a:rPr>
              <a:t>Radius Health </a:t>
            </a:r>
            <a:br>
              <a:rPr lang="en-US" sz="3600" dirty="0">
                <a:solidFill>
                  <a:srgbClr val="007A94"/>
                </a:solidFill>
                <a:latin typeface="Segoe UI"/>
                <a:cs typeface="Segoe UI"/>
              </a:rPr>
            </a:br>
            <a:r>
              <a:rPr lang="en-US" sz="2700" dirty="0">
                <a:solidFill>
                  <a:srgbClr val="007A94"/>
                </a:solidFill>
                <a:latin typeface="Segoe UI"/>
                <a:cs typeface="Segoe UI"/>
              </a:rPr>
              <a:t>Market Analysis for Osteoporosis</a:t>
            </a:r>
          </a:p>
        </p:txBody>
      </p:sp>
    </p:spTree>
    <p:extLst>
      <p:ext uri="{BB962C8B-B14F-4D97-AF65-F5344CB8AC3E}">
        <p14:creationId xmlns:p14="http://schemas.microsoft.com/office/powerpoint/2010/main" val="9298310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9508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14572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Summary Insights and Recommenda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9759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"/>
          <p:cNvSpPr txBox="1">
            <a:spLocks/>
          </p:cNvSpPr>
          <p:nvPr/>
        </p:nvSpPr>
        <p:spPr>
          <a:xfrm>
            <a:off x="892161" y="1782570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>
                <a:cs typeface="Calibri"/>
              </a:rPr>
              <a:t>Language </a:t>
            </a:r>
            <a:r>
              <a:rPr lang="de-DE" err="1">
                <a:cs typeface="Calibri"/>
              </a:rPr>
              <a:t>models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to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determine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content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of</a:t>
            </a:r>
            <a:r>
              <a:rPr lang="de-DE">
                <a:cs typeface="Calibri"/>
              </a:rPr>
              <a:t> review. E.g. A review </a:t>
            </a:r>
            <a:r>
              <a:rPr lang="de-DE" err="1">
                <a:cs typeface="Calibri"/>
              </a:rPr>
              <a:t>about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symptoms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or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about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efficacy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of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the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medication</a:t>
            </a:r>
            <a:r>
              <a:rPr lang="de-DE">
                <a:cs typeface="Calibri"/>
              </a:rPr>
              <a:t>?</a:t>
            </a:r>
          </a:p>
        </p:txBody>
      </p:sp>
      <p:sp>
        <p:nvSpPr>
          <p:cNvPr id="28" name="Inhaltsplatzhalter 3"/>
          <p:cNvSpPr txBox="1">
            <a:spLocks/>
          </p:cNvSpPr>
          <p:nvPr/>
        </p:nvSpPr>
        <p:spPr>
          <a:xfrm>
            <a:off x="892161" y="3150493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>
                <a:cs typeface="Calibri"/>
              </a:rPr>
              <a:t>Use </a:t>
            </a:r>
            <a:r>
              <a:rPr lang="de-DE" err="1">
                <a:cs typeface="Calibri"/>
              </a:rPr>
              <a:t>of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predictive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modeling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to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obtain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more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fine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grained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product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specific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information</a:t>
            </a:r>
            <a:r>
              <a:rPr lang="de-DE">
                <a:cs typeface="Calibri"/>
              </a:rPr>
              <a:t>. (Are </a:t>
            </a:r>
            <a:r>
              <a:rPr lang="de-DE" err="1">
                <a:cs typeface="Calibri"/>
              </a:rPr>
              <a:t>injectibles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less</a:t>
            </a:r>
            <a:r>
              <a:rPr lang="de-DE">
                <a:cs typeface="Calibri"/>
              </a:rPr>
              <a:t> favorable </a:t>
            </a:r>
            <a:r>
              <a:rPr lang="de-DE" err="1">
                <a:cs typeface="Calibri"/>
              </a:rPr>
              <a:t>than</a:t>
            </a:r>
            <a:r>
              <a:rPr lang="de-DE">
                <a:cs typeface="Calibri"/>
              </a:rPr>
              <a:t> non-</a:t>
            </a:r>
            <a:r>
              <a:rPr lang="de-DE" err="1">
                <a:cs typeface="Calibri"/>
              </a:rPr>
              <a:t>injectibles</a:t>
            </a:r>
            <a:r>
              <a:rPr lang="de-DE">
                <a:cs typeface="Calibri"/>
              </a:rPr>
              <a:t>).</a:t>
            </a:r>
          </a:p>
        </p:txBody>
      </p:sp>
      <p:sp>
        <p:nvSpPr>
          <p:cNvPr id="29" name="Inhaltsplatzhalter 4"/>
          <p:cNvSpPr txBox="1">
            <a:spLocks/>
          </p:cNvSpPr>
          <p:nvPr/>
        </p:nvSpPr>
        <p:spPr>
          <a:xfrm>
            <a:off x="892161" y="4497315"/>
            <a:ext cx="10553007" cy="1307448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>
                <a:cs typeface="Calibri"/>
              </a:rPr>
              <a:t>Further </a:t>
            </a:r>
            <a:r>
              <a:rPr lang="de-DE" err="1">
                <a:cs typeface="Calibri"/>
              </a:rPr>
              <a:t>explore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relationship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between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market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share</a:t>
            </a:r>
            <a:r>
              <a:rPr lang="de-DE">
                <a:cs typeface="Calibri"/>
              </a:rPr>
              <a:t> and </a:t>
            </a:r>
            <a:r>
              <a:rPr lang="de-DE" err="1">
                <a:cs typeface="Calibri"/>
              </a:rPr>
              <a:t>aggregate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quality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of</a:t>
            </a:r>
            <a:r>
              <a:rPr lang="de-DE">
                <a:cs typeface="Calibri"/>
              </a:rPr>
              <a:t> review </a:t>
            </a:r>
            <a:r>
              <a:rPr lang="de-DE" err="1">
                <a:cs typeface="Calibri"/>
              </a:rPr>
              <a:t>for</a:t>
            </a:r>
            <a:r>
              <a:rPr lang="de-DE">
                <a:cs typeface="Calibri"/>
              </a:rPr>
              <a:t> top </a:t>
            </a:r>
            <a:r>
              <a:rPr lang="de-DE" err="1">
                <a:cs typeface="Calibri"/>
              </a:rPr>
              <a:t>osteoporosis</a:t>
            </a:r>
            <a:r>
              <a:rPr lang="de-DE">
                <a:cs typeface="Calibri"/>
              </a:rPr>
              <a:t> </a:t>
            </a:r>
            <a:r>
              <a:rPr lang="de-DE" err="1">
                <a:cs typeface="Calibri"/>
              </a:rPr>
              <a:t>medications</a:t>
            </a:r>
            <a:r>
              <a:rPr lang="de-DE">
                <a:cs typeface="Calibri"/>
              </a:rPr>
              <a:t>.</a:t>
            </a: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1996666"/>
            <a:ext cx="760396" cy="760396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3377530"/>
            <a:ext cx="760396" cy="760396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4758394"/>
            <a:ext cx="760396" cy="760396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1294BAC2-5750-58E8-DD25-781C8BCF2724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Way Forward: </a:t>
            </a:r>
            <a:endParaRPr lang="en-US" sz="2800" b="1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6158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1D1E465C-8EEC-400C-8F95-6029A5E9D2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8EB43E98-7343-456B-9AB3-9416203DD565}"/>
              </a:ext>
            </a:extLst>
          </p:cNvPr>
          <p:cNvSpPr txBox="1">
            <a:spLocks/>
          </p:cNvSpPr>
          <p:nvPr/>
        </p:nvSpPr>
        <p:spPr>
          <a:xfrm>
            <a:off x="359000" y="3759977"/>
            <a:ext cx="6624000" cy="1980000"/>
          </a:xfrm>
          <a:prstGeom prst="rect">
            <a:avLst/>
          </a:prstGeo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lIns="180000" tIns="144000" rIns="216000" bIns="180000" rtlCol="0" anchor="ctr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rgbClr val="007A94"/>
                </a:solidFill>
                <a:latin typeface="Segoe UI (Headings)"/>
              </a:rPr>
              <a:t>Appendix</a:t>
            </a:r>
            <a:endParaRPr lang="en-US" b="1" dirty="0">
              <a:solidFill>
                <a:srgbClr val="007A94"/>
              </a:solidFill>
              <a:latin typeface="Segoe UI (Headings)"/>
            </a:endParaRPr>
          </a:p>
        </p:txBody>
      </p:sp>
    </p:spTree>
    <p:extLst>
      <p:ext uri="{BB962C8B-B14F-4D97-AF65-F5344CB8AC3E}">
        <p14:creationId xmlns:p14="http://schemas.microsoft.com/office/powerpoint/2010/main" val="2036419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requency and Review Scores of Age Demographic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C0BC9C-1D11-5011-2768-CFBA075A4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095" y="1512846"/>
            <a:ext cx="5273189" cy="34612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74EDBC-6CF1-5823-D5E7-4149B0E19D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27"/>
          <a:stretch/>
        </p:blipFill>
        <p:spPr>
          <a:xfrm>
            <a:off x="6096000" y="1512846"/>
            <a:ext cx="5491281" cy="34612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021E62B-8F85-D5AF-8847-1838D48D4C52}"/>
              </a:ext>
            </a:extLst>
          </p:cNvPr>
          <p:cNvSpPr txBox="1"/>
          <p:nvPr/>
        </p:nvSpPr>
        <p:spPr>
          <a:xfrm>
            <a:off x="1012054" y="5229069"/>
            <a:ext cx="10575227" cy="550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4389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316800"/>
            <a:ext cx="9841708" cy="1134000"/>
          </a:xfrm>
        </p:spPr>
        <p:txBody>
          <a:bodyPr/>
          <a:lstStyle/>
          <a:p>
            <a:r>
              <a:rPr lang="en-US"/>
              <a:t>Frequency of Reviews for most Reviewed Medica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B837BC-0DBB-262F-51C0-7685B4D6EE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169" y="1450800"/>
            <a:ext cx="5612608" cy="49236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ABC4DC-F3D2-6575-7A24-25AD18D17331}"/>
              </a:ext>
            </a:extLst>
          </p:cNvPr>
          <p:cNvSpPr txBox="1"/>
          <p:nvPr/>
        </p:nvSpPr>
        <p:spPr>
          <a:xfrm>
            <a:off x="7404288" y="2893266"/>
            <a:ext cx="3630243" cy="2038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7872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90C729-32A1-2F79-38AA-0F5A695F5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792" y="1424437"/>
            <a:ext cx="8837882" cy="47859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35EEFB8-28D3-3349-1E44-0CEFD0517829}"/>
              </a:ext>
            </a:extLst>
          </p:cNvPr>
          <p:cNvSpPr txBox="1"/>
          <p:nvPr/>
        </p:nvSpPr>
        <p:spPr>
          <a:xfrm>
            <a:off x="9685208" y="2221532"/>
            <a:ext cx="203200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The age proportions remain constant across the most frequently reviewed drug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5769DB-1E9A-E3F3-BFB9-8D9AD4B2BB4D}"/>
              </a:ext>
            </a:extLst>
          </p:cNvPr>
          <p:cNvSpPr txBox="1"/>
          <p:nvPr/>
        </p:nvSpPr>
        <p:spPr>
          <a:xfrm>
            <a:off x="664597" y="447288"/>
            <a:ext cx="1032513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requenc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of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Reviews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b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Age Group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or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Most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Reviewed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Medications</a:t>
            </a:r>
            <a:endParaRPr lang="de-DE" sz="16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434273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5A91A3A-A415-C6DC-C504-71BA4B0BEB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329" y="1337553"/>
            <a:ext cx="9841609" cy="41828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9C7B0-5451-98E4-A3B6-5617AA5F56FF}"/>
              </a:ext>
            </a:extLst>
          </p:cNvPr>
          <p:cNvSpPr txBox="1"/>
          <p:nvPr/>
        </p:nvSpPr>
        <p:spPr>
          <a:xfrm>
            <a:off x="1461051" y="5574037"/>
            <a:ext cx="8810167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err="1">
                <a:ea typeface="+mn-lt"/>
                <a:cs typeface="+mn-lt"/>
              </a:rPr>
              <a:t>Insights</a:t>
            </a:r>
            <a:r>
              <a:rPr lang="de-DE" b="1">
                <a:ea typeface="+mn-lt"/>
                <a:cs typeface="+mn-lt"/>
              </a:rPr>
              <a:t>: 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 err="1">
                <a:ea typeface="+mn-lt"/>
                <a:cs typeface="+mn-lt"/>
              </a:rPr>
              <a:t>Ther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does</a:t>
            </a:r>
            <a:r>
              <a:rPr lang="de-DE">
                <a:ea typeface="+mn-lt"/>
                <a:cs typeface="+mn-lt"/>
              </a:rPr>
              <a:t> not </a:t>
            </a:r>
            <a:r>
              <a:rPr lang="de-DE" err="1">
                <a:ea typeface="+mn-lt"/>
                <a:cs typeface="+mn-lt"/>
              </a:rPr>
              <a:t>appea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o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</a:t>
            </a:r>
            <a:r>
              <a:rPr lang="de-DE">
                <a:ea typeface="+mn-lt"/>
                <a:cs typeface="+mn-lt"/>
              </a:rPr>
              <a:t> a </a:t>
            </a:r>
            <a:r>
              <a:rPr lang="de-DE" err="1">
                <a:ea typeface="+mn-lt"/>
                <a:cs typeface="+mn-lt"/>
              </a:rPr>
              <a:t>majo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relationship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tween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age</a:t>
            </a:r>
            <a:r>
              <a:rPr lang="de-DE">
                <a:ea typeface="+mn-lt"/>
                <a:cs typeface="+mn-lt"/>
              </a:rPr>
              <a:t> and </a:t>
            </a:r>
            <a:r>
              <a:rPr lang="de-DE" err="1">
                <a:ea typeface="+mn-lt"/>
                <a:cs typeface="+mn-lt"/>
              </a:rPr>
              <a:t>these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hre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features</a:t>
            </a:r>
            <a:r>
              <a:rPr lang="de-DE">
                <a:ea typeface="+mn-lt"/>
                <a:cs typeface="+mn-lt"/>
              </a:rPr>
              <a:t>.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>
                <a:ea typeface="+mn-lt"/>
                <a:cs typeface="+mn-lt"/>
              </a:rPr>
              <a:t>Bullet 2 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7D2A57-F4F5-1C20-3338-C51C1E26F469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Average Ratings for Satisfaction, Ease of Use, and Effectiveness Across Age. </a:t>
            </a:r>
          </a:p>
        </p:txBody>
      </p:sp>
    </p:spTree>
    <p:extLst>
      <p:ext uri="{BB962C8B-B14F-4D97-AF65-F5344CB8AC3E}">
        <p14:creationId xmlns:p14="http://schemas.microsoft.com/office/powerpoint/2010/main" val="19041050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830FE2-5EB2-68B0-0056-2B66F86C4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1502" y="1011934"/>
            <a:ext cx="4088617" cy="29219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BED1845-E806-771A-FD07-AABD7E5689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1502" y="3982623"/>
            <a:ext cx="4088617" cy="29219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602073-6EC2-AA6A-54D7-1A5D1B5ED8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2033" y="980078"/>
            <a:ext cx="4088617" cy="2921943"/>
          </a:xfrm>
          <a:prstGeom prst="rect">
            <a:avLst/>
          </a:prstGeom>
        </p:spPr>
      </p:pic>
      <p:pic>
        <p:nvPicPr>
          <p:cNvPr id="13" name="Picture 5" descr="Chart, treemap chart&#10;&#10;Description automatically generated">
            <a:extLst>
              <a:ext uri="{FF2B5EF4-FFF2-40B4-BE49-F238E27FC236}">
                <a16:creationId xmlns:a16="http://schemas.microsoft.com/office/drawing/2014/main" id="{56C43A54-F0EA-BABD-44AA-C51D2DBCD3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7418" y="3933877"/>
            <a:ext cx="3722354" cy="2815763"/>
          </a:xfrm>
          <a:prstGeom prst="rect">
            <a:avLst/>
          </a:prstGeom>
        </p:spPr>
      </p:pic>
      <p:sp>
        <p:nvSpPr>
          <p:cNvPr id="14" name="Richtungspfeil 1">
            <a:extLst>
              <a:ext uri="{FF2B5EF4-FFF2-40B4-BE49-F238E27FC236}">
                <a16:creationId xmlns:a16="http://schemas.microsoft.com/office/drawing/2014/main" id="{7D8681C1-2678-5873-7828-0A7D5F4D8BD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2323708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i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correlate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Moderate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</a:p>
        </p:txBody>
      </p:sp>
      <p:sp>
        <p:nvSpPr>
          <p:cNvPr id="15" name="Richtungspfeil 1">
            <a:extLst>
              <a:ext uri="{FF2B5EF4-FFF2-40B4-BE49-F238E27FC236}">
                <a16:creationId xmlns:a16="http://schemas.microsoft.com/office/drawing/2014/main" id="{CE0E5833-007F-B749-CF6C-DA96F72220B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402193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Reviews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en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o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av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and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low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D9F7F0-8591-5EC4-8F05-F10829A1BFDB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What is generally driving satisfaction? </a:t>
            </a:r>
            <a:r>
              <a:rPr lang="en-US" sz="2000">
                <a:solidFill>
                  <a:srgbClr val="0088A6"/>
                </a:solidFill>
                <a:latin typeface="Segoe UI"/>
                <a:cs typeface="Segoe UI"/>
              </a:rPr>
              <a:t>Ease of use or effectiveness?</a:t>
            </a:r>
            <a:endParaRPr lang="en-US" sz="20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10942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ackground. </a:t>
            </a:r>
            <a:r>
              <a:rPr lang="en-US" b="0" dirty="0"/>
              <a:t>Radius Health Releases TYMLOS </a:t>
            </a:r>
          </a:p>
        </p:txBody>
      </p:sp>
      <p:pic>
        <p:nvPicPr>
          <p:cNvPr id="12" name="Picture 11" descr="Graph on document with pen">
            <a:extLst>
              <a:ext uri="{FF2B5EF4-FFF2-40B4-BE49-F238E27FC236}">
                <a16:creationId xmlns:a16="http://schemas.microsoft.com/office/drawing/2014/main" id="{4AB06FE0-2A0B-40CD-ACED-8F0C7D6AB52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49" b="16049"/>
          <a:stretch/>
        </p:blipFill>
        <p:spPr>
          <a:xfrm>
            <a:off x="0" y="1665962"/>
            <a:ext cx="12192000" cy="5192038"/>
          </a:xfrm>
          <a:prstGeom prst="rect">
            <a:avLst/>
          </a:prstGeom>
        </p:spPr>
      </p:pic>
      <p:sp>
        <p:nvSpPr>
          <p:cNvPr id="13" name="Title 8">
            <a:extLst>
              <a:ext uri="{FF2B5EF4-FFF2-40B4-BE49-F238E27FC236}">
                <a16:creationId xmlns:a16="http://schemas.microsoft.com/office/drawing/2014/main" id="{24E5262C-A45B-483B-BEB9-E1DF12C41984}"/>
              </a:ext>
            </a:extLst>
          </p:cNvPr>
          <p:cNvSpPr txBox="1">
            <a:spLocks/>
          </p:cNvSpPr>
          <p:nvPr/>
        </p:nvSpPr>
        <p:spPr>
          <a:xfrm>
            <a:off x="550800" y="2877591"/>
            <a:ext cx="8387717" cy="377636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6576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2017 – FDA approves TYMLOS to treat postmenopausal osteoporosis in the U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8CAA"/>
                </a:solidFill>
                <a:latin typeface="Segoe UI"/>
              </a:rPr>
              <a:t>2021 – FDA approves the removal of some warnings of TYMLO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Research Needs: 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ich drugs are leading the market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o are the target demographic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market driver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opportunities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032" name="Picture 8" descr="Home | Radius">
            <a:extLst>
              <a:ext uri="{FF2B5EF4-FFF2-40B4-BE49-F238E27FC236}">
                <a16:creationId xmlns:a16="http://schemas.microsoft.com/office/drawing/2014/main" id="{CAD1F4D7-DAE4-A9ED-85BF-99EB1D457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799" y="1665962"/>
            <a:ext cx="3495675" cy="130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5901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hart&#10;&#10;Description automatically generated">
            <a:extLst>
              <a:ext uri="{FF2B5EF4-FFF2-40B4-BE49-F238E27FC236}">
                <a16:creationId xmlns:a16="http://schemas.microsoft.com/office/drawing/2014/main" id="{49382818-7428-53AF-FA09-9DC155B28D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7841596" y="3612205"/>
            <a:ext cx="3868047" cy="2729231"/>
          </a:xfrm>
        </p:spPr>
      </p:pic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B8F4A670-00DF-CA7B-125C-8B7776CA47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31407" y="892745"/>
            <a:ext cx="3858184" cy="2695713"/>
          </a:xfrm>
          <a:prstGeom prst="rect">
            <a:avLst/>
          </a:prstGeom>
        </p:spPr>
      </p:pic>
      <p:pic>
        <p:nvPicPr>
          <p:cNvPr id="6" name="Picture 6" descr="Chart&#10;&#10;Description automatically generated">
            <a:extLst>
              <a:ext uri="{FF2B5EF4-FFF2-40B4-BE49-F238E27FC236}">
                <a16:creationId xmlns:a16="http://schemas.microsoft.com/office/drawing/2014/main" id="{5D1486B8-38F3-2945-9346-BB5393E8F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1214" y="3590150"/>
            <a:ext cx="3810382" cy="2721913"/>
          </a:xfrm>
          <a:prstGeom prst="rect">
            <a:avLst/>
          </a:prstGeom>
        </p:spPr>
      </p:pic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69EE11E9-D7A8-3EEB-4832-F25451BA9C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68078" y="892745"/>
            <a:ext cx="3826465" cy="272191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091DA20-0B2D-99AE-0A01-27B89C9A2F71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Good Reviews and Bad Reviews: </a:t>
            </a:r>
            <a:r>
              <a:rPr lang="en-US" sz="2800">
                <a:solidFill>
                  <a:srgbClr val="0088A6"/>
                </a:solidFill>
                <a:latin typeface="Segoe UI"/>
                <a:cs typeface="Segoe UI"/>
              </a:rPr>
              <a:t>What can we understand from the sub-categories?</a:t>
            </a:r>
            <a:endParaRPr lang="en-US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ichtungspfeil 1">
            <a:extLst>
              <a:ext uri="{FF2B5EF4-FFF2-40B4-BE49-F238E27FC236}">
                <a16:creationId xmlns:a16="http://schemas.microsoft.com/office/drawing/2014/main" id="{9BC5C745-20B7-8192-2D94-F486B93ECE1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114036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0" name="Richtungspfeil 1">
            <a:extLst>
              <a:ext uri="{FF2B5EF4-FFF2-40B4-BE49-F238E27FC236}">
                <a16:creationId xmlns:a16="http://schemas.microsoft.com/office/drawing/2014/main" id="{FAB1F605-6604-9E58-2050-2DF226AF53F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243251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1" name="Richtungspfeil 1">
            <a:extLst>
              <a:ext uri="{FF2B5EF4-FFF2-40B4-BE49-F238E27FC236}">
                <a16:creationId xmlns:a16="http://schemas.microsoft.com/office/drawing/2014/main" id="{18301B77-9C6C-AB03-E1F5-AD2DBE4956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3802300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3.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2" name="Richtungspfeil 1">
            <a:extLst>
              <a:ext uri="{FF2B5EF4-FFF2-40B4-BE49-F238E27FC236}">
                <a16:creationId xmlns:a16="http://schemas.microsoft.com/office/drawing/2014/main" id="{9C903CA5-6D61-4C2D-E6B2-AB0318F1644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" y="5122725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4.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~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(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eaker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elationship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502265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BD1E04F3-8C0B-FABD-DC93-A160E72AADCC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erage Ratings for Non-injectable vs. Injectable Treatment: </a:t>
            </a:r>
            <a:r>
              <a:rPr lang="en-US" sz="2800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ed at different age groups</a:t>
            </a:r>
            <a:endParaRPr lang="de-DE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" name="Table 21">
            <a:extLst>
              <a:ext uri="{FF2B5EF4-FFF2-40B4-BE49-F238E27FC236}">
                <a16:creationId xmlns:a16="http://schemas.microsoft.com/office/drawing/2014/main" id="{A6A508B6-787D-33FC-CF5D-EA0D75162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04029"/>
              </p:ext>
            </p:extLst>
          </p:nvPr>
        </p:nvGraphicFramePr>
        <p:xfrm>
          <a:off x="273331" y="1126727"/>
          <a:ext cx="5637317" cy="2075942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933495">
                  <a:extLst>
                    <a:ext uri="{9D8B030D-6E8A-4147-A177-3AD203B41FA5}">
                      <a16:colId xmlns:a16="http://schemas.microsoft.com/office/drawing/2014/main" val="1807575028"/>
                    </a:ext>
                  </a:extLst>
                </a:gridCol>
                <a:gridCol w="1612130">
                  <a:extLst>
                    <a:ext uri="{9D8B030D-6E8A-4147-A177-3AD203B41FA5}">
                      <a16:colId xmlns:a16="http://schemas.microsoft.com/office/drawing/2014/main" val="243005841"/>
                    </a:ext>
                  </a:extLst>
                </a:gridCol>
                <a:gridCol w="1091692">
                  <a:extLst>
                    <a:ext uri="{9D8B030D-6E8A-4147-A177-3AD203B41FA5}">
                      <a16:colId xmlns:a16="http://schemas.microsoft.com/office/drawing/2014/main" val="3630113691"/>
                    </a:ext>
                  </a:extLst>
                </a:gridCol>
              </a:tblGrid>
              <a:tr h="303257">
                <a:tc>
                  <a:txBody>
                    <a:bodyPr/>
                    <a:lstStyle/>
                    <a:p>
                      <a:pPr algn="l"/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ug Nam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206019"/>
                  </a:ext>
                </a:extLst>
              </a:tr>
              <a:tr h="1710182">
                <a:tc>
                  <a:txBody>
                    <a:bodyPr/>
                    <a:lstStyle/>
                    <a:p>
                      <a:pPr algn="l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lia Syrin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last bottle, infusion</a:t>
                      </a:r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Zometa vial</a:t>
                      </a:r>
                    </a:p>
                    <a:p>
                      <a:pPr algn="l"/>
                      <a:endParaRPr lang="en-US" sz="1400" b="0" kern="120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telvia</a:t>
                      </a:r>
                      <a:b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ctonel tablet osteoporosis agent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45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8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8689600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F43705A-2C9B-0DF6-14F2-DA044987B4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2409216"/>
              </p:ext>
            </p:extLst>
          </p:nvPr>
        </p:nvGraphicFramePr>
        <p:xfrm>
          <a:off x="87980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74AE36B-B95B-5230-D6DF-641541472B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3078634"/>
              </p:ext>
            </p:extLst>
          </p:nvPr>
        </p:nvGraphicFramePr>
        <p:xfrm>
          <a:off x="4150552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110195-0499-A3E8-C8C6-FDB1CE2B26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7634943"/>
              </p:ext>
            </p:extLst>
          </p:nvPr>
        </p:nvGraphicFramePr>
        <p:xfrm>
          <a:off x="8213124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CE24205-CD5B-F7FA-35DF-B91835A03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5617611"/>
              </p:ext>
            </p:extLst>
          </p:nvPr>
        </p:nvGraphicFramePr>
        <p:xfrm>
          <a:off x="5910648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8B7703B-E87A-6615-6E10-73292F7B2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2666685"/>
              </p:ext>
            </p:extLst>
          </p:nvPr>
        </p:nvGraphicFramePr>
        <p:xfrm>
          <a:off x="8662813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01299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Approach and Methodology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602280"/>
            <a:ext cx="5486400" cy="202284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most prescribed drugs to treat osteoporosis.</a:t>
            </a:r>
          </a:p>
          <a:p>
            <a:pPr algn="just">
              <a:defRPr/>
            </a:pPr>
            <a:endParaRPr lang="en-US" sz="1600" dirty="0">
              <a:solidFill>
                <a:srgbClr val="333333"/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demographics of the users.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8" y="4094780"/>
            <a:ext cx="5486400" cy="21767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market driver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identify what certain drivers lead positive reviews.</a:t>
            </a:r>
          </a:p>
          <a:p>
            <a:pPr algn="just">
              <a:spcAft>
                <a:spcPts val="600"/>
              </a:spcAft>
              <a:defRPr/>
            </a:pPr>
            <a:endParaRPr kumimoji="0" lang="en-US" sz="160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+mn-ea"/>
              <a:cs typeface="+mn-cs"/>
              <a:sym typeface="Wingdings" panose="05000000000000000000" pitchFamily="2" charset="2"/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opportunitie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understand what the patients are looking for from their medication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823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About the Data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7" name="Rectangle 158">
            <a:extLst>
              <a:ext uri="{FF2B5EF4-FFF2-40B4-BE49-F238E27FC236}">
                <a16:creationId xmlns:a16="http://schemas.microsoft.com/office/drawing/2014/main" id="{4914A7A9-F21D-9B1A-2845-730800DA46D8}"/>
              </a:ext>
            </a:extLst>
          </p:cNvPr>
          <p:cNvSpPr/>
          <p:nvPr/>
        </p:nvSpPr>
        <p:spPr>
          <a:xfrm>
            <a:off x="397933" y="1794935"/>
            <a:ext cx="11490222" cy="3877985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8" name="TextBox 92">
            <a:extLst>
              <a:ext uri="{FF2B5EF4-FFF2-40B4-BE49-F238E27FC236}">
                <a16:creationId xmlns:a16="http://schemas.microsoft.com/office/drawing/2014/main" id="{3F85F8DF-E78F-7ABC-AB4F-31B4A82EFEA3}"/>
              </a:ext>
            </a:extLst>
          </p:cNvPr>
          <p:cNvSpPr txBox="1"/>
          <p:nvPr/>
        </p:nvSpPr>
        <p:spPr>
          <a:xfrm>
            <a:off x="3242119" y="1992693"/>
            <a:ext cx="4659476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 dirty="0">
                <a:solidFill>
                  <a:srgbClr val="007A94"/>
                </a:solidFill>
                <a:latin typeface="Segoe UI"/>
                <a:cs typeface="Segoe UI"/>
              </a:rPr>
              <a:t>12 Features</a:t>
            </a:r>
          </a:p>
        </p:txBody>
      </p:sp>
      <p:sp>
        <p:nvSpPr>
          <p:cNvPr id="9" name="Rectangle 156">
            <a:extLst>
              <a:ext uri="{FF2B5EF4-FFF2-40B4-BE49-F238E27FC236}">
                <a16:creationId xmlns:a16="http://schemas.microsoft.com/office/drawing/2014/main" id="{A2E1FC61-C996-9554-4DEA-7D0AF2E2B929}"/>
              </a:ext>
            </a:extLst>
          </p:cNvPr>
          <p:cNvSpPr/>
          <p:nvPr/>
        </p:nvSpPr>
        <p:spPr>
          <a:xfrm>
            <a:off x="843057" y="1992693"/>
            <a:ext cx="188337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600" b="1">
                <a:solidFill>
                  <a:srgbClr val="007A94"/>
                </a:solidFill>
                <a:latin typeface="Segoe UI"/>
                <a:cs typeface="Segoe UI"/>
              </a:rPr>
              <a:t>Dataset</a:t>
            </a:r>
          </a:p>
        </p:txBody>
      </p:sp>
      <p:sp>
        <p:nvSpPr>
          <p:cNvPr id="10" name="TextBox 387">
            <a:extLst>
              <a:ext uri="{FF2B5EF4-FFF2-40B4-BE49-F238E27FC236}">
                <a16:creationId xmlns:a16="http://schemas.microsoft.com/office/drawing/2014/main" id="{7552F30F-617F-0ED6-42CB-FCA3D65E359B}"/>
              </a:ext>
            </a:extLst>
          </p:cNvPr>
          <p:cNvSpPr txBox="1"/>
          <p:nvPr/>
        </p:nvSpPr>
        <p:spPr>
          <a:xfrm>
            <a:off x="843315" y="2310367"/>
            <a:ext cx="2112539" cy="38779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ebM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Drug Reviews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 err="1">
                <a:solidFill>
                  <a:srgbClr val="007A94"/>
                </a:solidFill>
                <a:latin typeface="Segoe UI"/>
                <a:cs typeface="Calibri"/>
              </a:rPr>
              <a:t>Context</a:t>
            </a: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: </a:t>
            </a:r>
          </a:p>
          <a:p>
            <a:pPr defTabSz="1219140"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Th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atase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ovide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view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on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pecific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escrip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rug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lo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condition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sex, and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a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flec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overal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.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Segoe UI"/>
              </a:rPr>
              <a:t>Source: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https://www.kaggle.com/datasets/rohanharode07/webmd-drug-reviews-dataset.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Calibr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Siz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: 362,806 x 12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</p:txBody>
      </p:sp>
      <p:sp>
        <p:nvSpPr>
          <p:cNvPr id="11" name="Rectangle 243">
            <a:extLst>
              <a:ext uri="{FF2B5EF4-FFF2-40B4-BE49-F238E27FC236}">
                <a16:creationId xmlns:a16="http://schemas.microsoft.com/office/drawing/2014/main" id="{4F582BB7-79CB-E4C8-12FC-0B4EC3B8E4DE}"/>
              </a:ext>
            </a:extLst>
          </p:cNvPr>
          <p:cNvSpPr/>
          <p:nvPr/>
        </p:nvSpPr>
        <p:spPr>
          <a:xfrm>
            <a:off x="3312823" y="2350111"/>
            <a:ext cx="4908240" cy="25339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rug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I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d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Review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id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ssociate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ny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aseofUs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ivenes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ate (date): dat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ntry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Cou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b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ho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foun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Ag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roup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n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ex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end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b="1" dirty="0">
              <a:solidFill>
                <a:schemeClr val="tx1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</p:txBody>
      </p:sp>
      <p:sp>
        <p:nvSpPr>
          <p:cNvPr id="14" name="TextBox 92">
            <a:extLst>
              <a:ext uri="{FF2B5EF4-FFF2-40B4-BE49-F238E27FC236}">
                <a16:creationId xmlns:a16="http://schemas.microsoft.com/office/drawing/2014/main" id="{D7EBFF40-3DB4-8D85-B454-046695C98629}"/>
              </a:ext>
            </a:extLst>
          </p:cNvPr>
          <p:cNvSpPr txBox="1"/>
          <p:nvPr/>
        </p:nvSpPr>
        <p:spPr>
          <a:xfrm>
            <a:off x="8592548" y="2025467"/>
            <a:ext cx="3689912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>
                <a:solidFill>
                  <a:srgbClr val="007A94"/>
                </a:solidFill>
                <a:latin typeface="Segoe UI"/>
                <a:cs typeface="Segoe UI"/>
              </a:rPr>
              <a:t>Data </a:t>
            </a:r>
            <a:r>
              <a:rPr lang="de-DE" sz="1600" err="1">
                <a:solidFill>
                  <a:srgbClr val="007A94"/>
                </a:solidFill>
                <a:latin typeface="Segoe UI"/>
                <a:cs typeface="Segoe UI"/>
              </a:rPr>
              <a:t>Preprocessing</a:t>
            </a:r>
            <a:endParaRPr lang="de-DE" sz="16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15" name="TextBox 227">
            <a:extLst>
              <a:ext uri="{FF2B5EF4-FFF2-40B4-BE49-F238E27FC236}">
                <a16:creationId xmlns:a16="http://schemas.microsoft.com/office/drawing/2014/main" id="{8A0DE985-5D35-86E2-70B6-7A18EF41AD49}"/>
              </a:ext>
            </a:extLst>
          </p:cNvPr>
          <p:cNvSpPr txBox="1"/>
          <p:nvPr/>
        </p:nvSpPr>
        <p:spPr>
          <a:xfrm>
            <a:off x="8989142" y="3026272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strict condition to osteoporosi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pic>
        <p:nvPicPr>
          <p:cNvPr id="16" name="Grafik 84">
            <a:extLst>
              <a:ext uri="{FF2B5EF4-FFF2-40B4-BE49-F238E27FC236}">
                <a16:creationId xmlns:a16="http://schemas.microsoft.com/office/drawing/2014/main" id="{F37E84E1-D61B-6014-A2D9-77B19EDA79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26917" y="2958608"/>
            <a:ext cx="309336" cy="309336"/>
          </a:xfrm>
          <a:prstGeom prst="rect">
            <a:avLst/>
          </a:prstGeom>
        </p:spPr>
      </p:pic>
      <p:pic>
        <p:nvPicPr>
          <p:cNvPr id="17" name="Grafik 87">
            <a:extLst>
              <a:ext uri="{FF2B5EF4-FFF2-40B4-BE49-F238E27FC236}">
                <a16:creationId xmlns:a16="http://schemas.microsoft.com/office/drawing/2014/main" id="{52326547-D302-16E7-2AE0-25903CBF0A4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647977" y="3371961"/>
            <a:ext cx="309336" cy="309336"/>
          </a:xfrm>
          <a:prstGeom prst="rect">
            <a:avLst/>
          </a:prstGeom>
        </p:spPr>
      </p:pic>
      <p:pic>
        <p:nvPicPr>
          <p:cNvPr id="18" name="Grafik 90">
            <a:extLst>
              <a:ext uri="{FF2B5EF4-FFF2-40B4-BE49-F238E27FC236}">
                <a16:creationId xmlns:a16="http://schemas.microsoft.com/office/drawing/2014/main" id="{2A49DF1C-CADB-9E71-A711-AAFA3428C9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648451" y="3743270"/>
            <a:ext cx="309336" cy="309336"/>
          </a:xfrm>
          <a:prstGeom prst="rect">
            <a:avLst/>
          </a:prstGeom>
        </p:spPr>
      </p:pic>
      <p:sp>
        <p:nvSpPr>
          <p:cNvPr id="19" name="TextBox 227">
            <a:extLst>
              <a:ext uri="{FF2B5EF4-FFF2-40B4-BE49-F238E27FC236}">
                <a16:creationId xmlns:a16="http://schemas.microsoft.com/office/drawing/2014/main" id="{AA298C44-898A-5E39-586B-A68452D74382}"/>
              </a:ext>
            </a:extLst>
          </p:cNvPr>
          <p:cNvSpPr txBox="1"/>
          <p:nvPr/>
        </p:nvSpPr>
        <p:spPr>
          <a:xfrm>
            <a:off x="8989142" y="339898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move duplicate review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0" name="TextBox 227">
            <a:extLst>
              <a:ext uri="{FF2B5EF4-FFF2-40B4-BE49-F238E27FC236}">
                <a16:creationId xmlns:a16="http://schemas.microsoft.com/office/drawing/2014/main" id="{49F42A3B-767C-D533-053E-6575C705F9FF}"/>
              </a:ext>
            </a:extLst>
          </p:cNvPr>
          <p:cNvSpPr txBox="1"/>
          <p:nvPr/>
        </p:nvSpPr>
        <p:spPr>
          <a:xfrm>
            <a:off x="8989142" y="376170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>
                <a:solidFill>
                  <a:srgbClr val="007A94"/>
                </a:solidFill>
                <a:latin typeface="Segoe UI"/>
                <a:cs typeface="Segoe UI"/>
              </a:rPr>
              <a:t>R</a:t>
            </a: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e-code the age to the desired bucket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07E92697-91ED-9C22-C17A-3F6717B44407}"/>
              </a:ext>
            </a:extLst>
          </p:cNvPr>
          <p:cNvSpPr/>
          <p:nvPr/>
        </p:nvSpPr>
        <p:spPr>
          <a:xfrm>
            <a:off x="7986329" y="3475127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180354F1-E336-6170-ABA8-45B6F48F6067}"/>
              </a:ext>
            </a:extLst>
          </p:cNvPr>
          <p:cNvSpPr/>
          <p:nvPr/>
        </p:nvSpPr>
        <p:spPr>
          <a:xfrm>
            <a:off x="2791619" y="3401384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68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Overview of Osteoporosis-related Illnesse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313E9D-2D23-AFFB-B308-AB427B8836EA}"/>
              </a:ext>
            </a:extLst>
          </p:cNvPr>
          <p:cNvSpPr/>
          <p:nvPr/>
        </p:nvSpPr>
        <p:spPr>
          <a:xfrm>
            <a:off x="664597" y="1426885"/>
            <a:ext cx="10883937" cy="4873290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solidFill>
                <a:schemeClr val="tx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0F8768-183C-10DE-0127-5113C155B0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745322"/>
              </p:ext>
            </p:extLst>
          </p:nvPr>
        </p:nvGraphicFramePr>
        <p:xfrm>
          <a:off x="1028454" y="1706577"/>
          <a:ext cx="10088177" cy="4436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6650">
                  <a:extLst>
                    <a:ext uri="{9D8B030D-6E8A-4147-A177-3AD203B41FA5}">
                      <a16:colId xmlns:a16="http://schemas.microsoft.com/office/drawing/2014/main" val="1667587394"/>
                    </a:ext>
                  </a:extLst>
                </a:gridCol>
                <a:gridCol w="4221527">
                  <a:extLst>
                    <a:ext uri="{9D8B030D-6E8A-4147-A177-3AD203B41FA5}">
                      <a16:colId xmlns:a16="http://schemas.microsoft.com/office/drawing/2014/main" val="2666223176"/>
                    </a:ext>
                  </a:extLst>
                </a:gridCol>
              </a:tblGrid>
              <a:tr h="571453">
                <a:tc>
                  <a:txBody>
                    <a:bodyPr/>
                    <a:lstStyle/>
                    <a:p>
                      <a:r>
                        <a:rPr lang="en-US" dirty="0">
                          <a:latin typeface="Segoe UI"/>
                        </a:rPr>
                        <a:t>Condition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Segoe UI"/>
                        </a:rPr>
                        <a:t>Number of Review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580663"/>
                  </a:ext>
                </a:extLst>
              </a:tr>
              <a:tr h="3111253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 in Male Patient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Aromatase Inhibitor Drug-Induced 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Men due to Deficient Function of Test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Post-Menopausal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postmenopausal woman at high risk for fracture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Glucocorticoid Drug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Glucocorticoid-Induced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Anti-Androgen Drugs</a:t>
                      </a: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rtl="0" eaLnBrk="1" latinLnBrk="0" hangingPunct="1">
                        <a:lnSpc>
                          <a:spcPct val="15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>
                        <a:lnSpc>
                          <a:spcPct val="20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 defTabSz="91440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Female: 1116</a:t>
                      </a:r>
                      <a:endParaRPr lang="en-US" dirty="0"/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Male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Unspecified: 170</a:t>
                      </a:r>
                    </a:p>
                    <a:p>
                      <a:pPr marL="0" lvl="0" algn="ctr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Number of Unique Drugs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Rating Records from 2007 to 2020</a:t>
                      </a:r>
                    </a:p>
                    <a:p>
                      <a:pPr lvl="0">
                        <a:lnSpc>
                          <a:spcPct val="150000"/>
                        </a:lnSpc>
                        <a:buNone/>
                      </a:pPr>
                      <a:endParaRPr lang="en-US" dirty="0">
                        <a:latin typeface="Segoe UI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985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540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4FDCB21-3DDD-2308-93F3-AD378D526B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763" y="1058629"/>
            <a:ext cx="9488031" cy="452673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F44775A-05CA-D851-37AB-E51C378E629E}"/>
              </a:ext>
            </a:extLst>
          </p:cNvPr>
          <p:cNvSpPr txBox="1"/>
          <p:nvPr/>
        </p:nvSpPr>
        <p:spPr>
          <a:xfrm>
            <a:off x="0" y="6217247"/>
            <a:ext cx="12192000" cy="64633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Calibri"/>
              </a:rPr>
              <a:t>Post-Menopausal Osteoporosis Prevention and Osteoporosis had the most number of unique treatments. </a:t>
            </a:r>
          </a:p>
          <a:p>
            <a:r>
              <a:rPr lang="en-US" dirty="0">
                <a:latin typeface="Segoe UI" panose="020B0502040204020203" pitchFamily="34" charset="0"/>
                <a:cs typeface="Calibri"/>
              </a:rPr>
              <a:t>TYMLOS treats Post-Menopausal Osteoporosis.</a:t>
            </a:r>
          </a:p>
        </p:txBody>
      </p:sp>
    </p:spTree>
    <p:extLst>
      <p:ext uri="{BB962C8B-B14F-4D97-AF65-F5344CB8AC3E}">
        <p14:creationId xmlns:p14="http://schemas.microsoft.com/office/powerpoint/2010/main" val="517590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est and Worst Drugs Based on Rating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E33F7C-418B-4273-A9C8-AAB27B6EA9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392" y="2597028"/>
            <a:ext cx="6026877" cy="30511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9F7A0F-1C9C-B018-4A83-DEECDA9C535A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atin typeface="Segoe UI" panose="020B0502040204020203" pitchFamily="34" charset="0"/>
                <a:cs typeface="Calibri"/>
              </a:rPr>
              <a:t>Inconclusive: Difficult to identify the market leaders based on rating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C2E8EA-EEBC-39E9-8760-6AC21871588F}"/>
              </a:ext>
            </a:extLst>
          </p:cNvPr>
          <p:cNvSpPr txBox="1"/>
          <p:nvPr/>
        </p:nvSpPr>
        <p:spPr>
          <a:xfrm>
            <a:off x="550799" y="1756637"/>
            <a:ext cx="9261418" cy="369332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clas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tle, Prolia, and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ctonel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ablet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op 3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H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e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or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rug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2A3D4-9376-7EFD-E1E6-87479F771E1C}"/>
              </a:ext>
            </a:extLst>
          </p:cNvPr>
          <p:cNvSpPr txBox="1"/>
          <p:nvPr/>
        </p:nvSpPr>
        <p:spPr>
          <a:xfrm rot="16200000">
            <a:off x="985345" y="860423"/>
            <a:ext cx="461665" cy="133075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28A4D6-B892-5C1F-81F9-EDA64A348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2596017"/>
            <a:ext cx="6026877" cy="305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17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op Medications Based on Number of Review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97A80C-7B55-AA37-F6A2-2720A88396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547" y="1181091"/>
            <a:ext cx="9473120" cy="511357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CFBE10-49A7-7E60-496D-BEDB585C1783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err="1">
                <a:solidFill>
                  <a:prstClr val="black"/>
                </a:solidFill>
                <a:cs typeface="Calibri"/>
              </a:rPr>
              <a:t>Reclast</a:t>
            </a:r>
            <a:r>
              <a:rPr lang="en-US">
                <a:solidFill>
                  <a:prstClr val="black"/>
                </a:solidFill>
                <a:cs typeface="Calibri"/>
              </a:rPr>
              <a:t> Bottle (non-injectable) and Prolia (injectable) stand out as the most reviewed drug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63A62A-AF55-5FE1-F984-7873154F80A6}"/>
              </a:ext>
            </a:extLst>
          </p:cNvPr>
          <p:cNvSpPr txBox="1"/>
          <p:nvPr/>
        </p:nvSpPr>
        <p:spPr>
          <a:xfrm>
            <a:off x="10119946" y="2551837"/>
            <a:ext cx="1537078" cy="1477328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escrib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roportional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C44357-43C6-861C-37E6-3118CE674B46}"/>
              </a:ext>
            </a:extLst>
          </p:cNvPr>
          <p:cNvSpPr txBox="1"/>
          <p:nvPr/>
        </p:nvSpPr>
        <p:spPr>
          <a:xfrm rot="16200000">
            <a:off x="10657653" y="1552464"/>
            <a:ext cx="461665" cy="1537077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ssumpt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766734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arget Demographic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96A993-92FD-AD91-9698-748958D479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2811" y="1493730"/>
            <a:ext cx="6647967" cy="43635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D32598-8272-5168-EC62-0EE82AB2E059}"/>
              </a:ext>
            </a:extLst>
          </p:cNvPr>
          <p:cNvSpPr txBox="1"/>
          <p:nvPr/>
        </p:nvSpPr>
        <p:spPr>
          <a:xfrm>
            <a:off x="8572501" y="2950539"/>
            <a:ext cx="2066192" cy="923330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 large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ajorit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rom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E29B96-B096-0EFC-97C1-7E919EAEBC0B}"/>
              </a:ext>
            </a:extLst>
          </p:cNvPr>
          <p:cNvSpPr txBox="1"/>
          <p:nvPr/>
        </p:nvSpPr>
        <p:spPr>
          <a:xfrm rot="16200000">
            <a:off x="9018676" y="2042697"/>
            <a:ext cx="461665" cy="135401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0B70B0-77EF-1665-EB54-08E5B849503A}"/>
              </a:ext>
            </a:extLst>
          </p:cNvPr>
          <p:cNvSpPr txBox="1"/>
          <p:nvPr/>
        </p:nvSpPr>
        <p:spPr>
          <a:xfrm>
            <a:off x="8568106" y="1493730"/>
            <a:ext cx="2066192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82%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9C941-CE83-648D-FADD-03B197E0C333}"/>
              </a:ext>
            </a:extLst>
          </p:cNvPr>
          <p:cNvSpPr txBox="1"/>
          <p:nvPr/>
        </p:nvSpPr>
        <p:spPr>
          <a:xfrm rot="16200000">
            <a:off x="8851624" y="748546"/>
            <a:ext cx="461665" cy="1028700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tatistics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ACB4CD-7397-8357-1B57-E60CDBE07937}"/>
              </a:ext>
            </a:extLst>
          </p:cNvPr>
          <p:cNvSpPr txBox="1"/>
          <p:nvPr/>
        </p:nvSpPr>
        <p:spPr>
          <a:xfrm>
            <a:off x="8568106" y="4760139"/>
            <a:ext cx="2066192" cy="1200329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 in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arge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emograph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Radiu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E7A0DD-5316-FE08-5582-215DFEDA72BD}"/>
              </a:ext>
            </a:extLst>
          </p:cNvPr>
          <p:cNvSpPr txBox="1"/>
          <p:nvPr/>
        </p:nvSpPr>
        <p:spPr>
          <a:xfrm rot="16200000">
            <a:off x="8943943" y="3922636"/>
            <a:ext cx="461665" cy="121333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Conclus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94988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9ba286-781f-4924-8718-3ab32083bd3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FF">
            <a:alpha val="60000"/>
          </a:srgbClr>
        </a:solidFill>
        <a:ln>
          <a:noFill/>
        </a:ln>
      </a:spPr>
      <a:bodyPr rtlCol="0" anchor="ctr"/>
      <a:lstStyle>
        <a:defPPr algn="ctr"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3.xml><?xml version="1.0" encoding="utf-8"?>
<a:theme xmlns:a="http://schemas.openxmlformats.org/drawingml/2006/main" name="3_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50000">
              <a:schemeClr val="bg1"/>
            </a:gs>
            <a:gs pos="100000">
              <a:schemeClr val="tx2">
                <a:lumMod val="20000"/>
                <a:lumOff val="80000"/>
              </a:schemeClr>
            </a:gs>
          </a:gsLst>
          <a:lin ang="5400000" scaled="0"/>
        </a:gradFill>
        <a:ln>
          <a:solidFill>
            <a:schemeClr val="bg2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3</Words>
  <Application>Microsoft Office PowerPoint</Application>
  <PresentationFormat>Widescreen</PresentationFormat>
  <Paragraphs>176</Paragraphs>
  <Slides>21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Segoe UI (Headings)</vt:lpstr>
      <vt:lpstr>Arial</vt:lpstr>
      <vt:lpstr>Calibri</vt:lpstr>
      <vt:lpstr>Calibri Light</vt:lpstr>
      <vt:lpstr>Segoe UI</vt:lpstr>
      <vt:lpstr>Symbol</vt:lpstr>
      <vt:lpstr>Wingdings</vt:lpstr>
      <vt:lpstr>Office Theme</vt:lpstr>
      <vt:lpstr>CS-Presentation</vt:lpstr>
      <vt:lpstr>3_CS-Presentation</vt:lpstr>
      <vt:lpstr>Radius Health  Market Analysis for Osteoporosis</vt:lpstr>
      <vt:lpstr>Background. Radius Health Releases TYMLOS </vt:lpstr>
      <vt:lpstr>Approach and Methodology</vt:lpstr>
      <vt:lpstr>About the Data</vt:lpstr>
      <vt:lpstr>Overview of Osteoporosis-related Illnesses</vt:lpstr>
      <vt:lpstr>Most Treated Conditions</vt:lpstr>
      <vt:lpstr>Best and Worst Drugs Based on Ratings</vt:lpstr>
      <vt:lpstr>Top Medications Based on Number of Reviews</vt:lpstr>
      <vt:lpstr>Target Demographics</vt:lpstr>
      <vt:lpstr>Most Treated Conditions</vt:lpstr>
      <vt:lpstr>Most Treated Conditions</vt:lpstr>
      <vt:lpstr>Summary Insights and Recommendations</vt:lpstr>
      <vt:lpstr>PowerPoint Presentation</vt:lpstr>
      <vt:lpstr>PowerPoint Presentation</vt:lpstr>
      <vt:lpstr>Frequency and Review Scores of Age Demographics.</vt:lpstr>
      <vt:lpstr>Frequency of Reviews for most Reviewed Medications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ng, Opal</dc:creator>
  <cp:lastModifiedBy>Kim, Woon</cp:lastModifiedBy>
  <cp:revision>1</cp:revision>
  <dcterms:created xsi:type="dcterms:W3CDTF">2022-07-20T17:03:57Z</dcterms:created>
  <dcterms:modified xsi:type="dcterms:W3CDTF">2022-07-28T17:40:41Z</dcterms:modified>
</cp:coreProperties>
</file>